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4"/>
  </p:sldMasterIdLst>
  <p:notesMasterIdLst>
    <p:notesMasterId r:id="rId6"/>
  </p:notesMasterIdLst>
  <p:sldIdLst>
    <p:sldId id="266" r:id="rId5"/>
  </p:sldIdLst>
  <p:sldSz cx="30275213" cy="42803763"/>
  <p:notesSz cx="9926638" cy="14355763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16" userDrawn="1">
          <p15:clr>
            <a:srgbClr val="A4A3A4"/>
          </p15:clr>
        </p15:guide>
        <p15:guide id="2" pos="554" userDrawn="1">
          <p15:clr>
            <a:srgbClr val="A4A3A4"/>
          </p15:clr>
        </p15:guide>
        <p15:guide id="3" pos="18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D0"/>
    <a:srgbClr val="FF1A00"/>
    <a:srgbClr val="141E8C"/>
    <a:srgbClr val="055ED2"/>
    <a:srgbClr val="6AB0E2"/>
    <a:srgbClr val="FECB00"/>
    <a:srgbClr val="EC6500"/>
    <a:srgbClr val="3C8A2E"/>
    <a:srgbClr val="A70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4660"/>
  </p:normalViewPr>
  <p:slideViewPr>
    <p:cSldViewPr snapToGrid="0">
      <p:cViewPr>
        <p:scale>
          <a:sx n="70" d="100"/>
          <a:sy n="70" d="100"/>
        </p:scale>
        <p:origin x="-4620" y="32"/>
      </p:cViewPr>
      <p:guideLst>
        <p:guide orient="horz" pos="26516"/>
        <p:guide pos="554"/>
        <p:guide pos="18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648" y="68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mad, Leila" userId="e0060735-4e0b-46c7-a6c3-c0cf6b3fb745" providerId="ADAL" clId="{0ED2B8B0-414D-4039-A12B-2D31AAC8F0FA}"/>
    <pc:docChg chg="custSel modSld modMainMaster">
      <pc:chgData name="Hammad, Leila" userId="e0060735-4e0b-46c7-a6c3-c0cf6b3fb745" providerId="ADAL" clId="{0ED2B8B0-414D-4039-A12B-2D31AAC8F0FA}" dt="2023-02-06T09:10:35.426" v="156" actId="20577"/>
      <pc:docMkLst>
        <pc:docMk/>
      </pc:docMkLst>
      <pc:sldChg chg="modSp mod">
        <pc:chgData name="Hammad, Leila" userId="e0060735-4e0b-46c7-a6c3-c0cf6b3fb745" providerId="ADAL" clId="{0ED2B8B0-414D-4039-A12B-2D31AAC8F0FA}" dt="2023-02-06T09:10:35.426" v="156" actId="20577"/>
        <pc:sldMkLst>
          <pc:docMk/>
          <pc:sldMk cId="1430462515" sldId="266"/>
        </pc:sldMkLst>
        <pc:spChg chg="mod">
          <ac:chgData name="Hammad, Leila" userId="e0060735-4e0b-46c7-a6c3-c0cf6b3fb745" providerId="ADAL" clId="{0ED2B8B0-414D-4039-A12B-2D31AAC8F0FA}" dt="2023-02-06T09:10:35.426" v="156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0ED2B8B0-414D-4039-A12B-2D31AAC8F0FA}" dt="2023-02-06T09:08:20.044" v="91" actId="20577"/>
          <ac:spMkLst>
            <pc:docMk/>
            <pc:sldMk cId="1430462515" sldId="266"/>
            <ac:spMk id="6" creationId="{490ACC0D-4708-49F8-89F6-0D0135133B48}"/>
          </ac:spMkLst>
        </pc:spChg>
      </pc:sldChg>
      <pc:sldMasterChg chg="modSp mod">
        <pc:chgData name="Hammad, Leila" userId="e0060735-4e0b-46c7-a6c3-c0cf6b3fb745" providerId="ADAL" clId="{0ED2B8B0-414D-4039-A12B-2D31AAC8F0FA}" dt="2023-02-06T09:10:02.065" v="151" actId="20577"/>
        <pc:sldMasterMkLst>
          <pc:docMk/>
          <pc:sldMasterMk cId="1386213227" sldId="2147483720"/>
        </pc:sldMasterMkLst>
        <pc:spChg chg="mod">
          <ac:chgData name="Hammad, Leila" userId="e0060735-4e0b-46c7-a6c3-c0cf6b3fb745" providerId="ADAL" clId="{0ED2B8B0-414D-4039-A12B-2D31AAC8F0FA}" dt="2023-02-06T09:10:02.065" v="151" actId="20577"/>
          <ac:spMkLst>
            <pc:docMk/>
            <pc:sldMasterMk cId="1386213227" sldId="2147483720"/>
            <ac:spMk id="11" creationId="{719D3FB4-6A06-40A4-95A8-330F0EC72828}"/>
          </ac:spMkLst>
        </pc:spChg>
      </pc:sldMasterChg>
    </pc:docChg>
  </pc:docChgLst>
  <pc:docChgLst>
    <pc:chgData name="Hammad, Leila" userId="e0060735-4e0b-46c7-a6c3-c0cf6b3fb745" providerId="ADAL" clId="{A55F4F19-1B02-49D3-BF51-A131F9C23492}"/>
    <pc:docChg chg="custSel modMainMaster">
      <pc:chgData name="Hammad, Leila" userId="e0060735-4e0b-46c7-a6c3-c0cf6b3fb745" providerId="ADAL" clId="{A55F4F19-1B02-49D3-BF51-A131F9C23492}" dt="2024-03-06T11:48:54.793" v="1" actId="478"/>
      <pc:docMkLst>
        <pc:docMk/>
      </pc:docMkLst>
      <pc:sldMasterChg chg="delSp mod">
        <pc:chgData name="Hammad, Leila" userId="e0060735-4e0b-46c7-a6c3-c0cf6b3fb745" providerId="ADAL" clId="{A55F4F19-1B02-49D3-BF51-A131F9C23492}" dt="2024-03-06T11:48:54.793" v="1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A55F4F19-1B02-49D3-BF51-A131F9C23492}" dt="2024-03-06T11:48:54.793" v="1" actId="478"/>
          <ac:spMkLst>
            <pc:docMk/>
            <pc:sldMasterMk cId="1386213227" sldId="2147483720"/>
            <ac:spMk id="14" creationId="{E465FAAF-EA98-9715-F685-7E9B33C40FD2}"/>
          </ac:spMkLst>
        </pc:spChg>
        <pc:picChg chg="del">
          <ac:chgData name="Hammad, Leila" userId="e0060735-4e0b-46c7-a6c3-c0cf6b3fb745" providerId="ADAL" clId="{A55F4F19-1B02-49D3-BF51-A131F9C23492}" dt="2024-03-06T11:48:52.714" v="0" actId="478"/>
          <ac:picMkLst>
            <pc:docMk/>
            <pc:sldMasterMk cId="1386213227" sldId="2147483720"/>
            <ac:picMk id="13" creationId="{8DD75B81-0F99-D11D-AD67-14861593A93E}"/>
          </ac:picMkLst>
        </pc:picChg>
      </pc:sldMasterChg>
    </pc:docChg>
  </pc:docChgLst>
  <pc:docChgLst>
    <pc:chgData name="Hammad, Leila" userId="e0060735-4e0b-46c7-a6c3-c0cf6b3fb745" providerId="ADAL" clId="{A677F243-6952-4A7F-97F5-9B25D025D019}"/>
    <pc:docChg chg="undo custSel modSld modMainMaster">
      <pc:chgData name="Hammad, Leila" userId="e0060735-4e0b-46c7-a6c3-c0cf6b3fb745" providerId="ADAL" clId="{A677F243-6952-4A7F-97F5-9B25D025D019}" dt="2024-04-08T13:12:19.188" v="19" actId="2711"/>
      <pc:docMkLst>
        <pc:docMk/>
      </pc:docMkLst>
      <pc:sldChg chg="addSp modSp mod">
        <pc:chgData name="Hammad, Leila" userId="e0060735-4e0b-46c7-a6c3-c0cf6b3fb745" providerId="ADAL" clId="{A677F243-6952-4A7F-97F5-9B25D025D019}" dt="2024-04-08T13:12:19.188" v="19" actId="2711"/>
        <pc:sldMkLst>
          <pc:docMk/>
          <pc:sldMk cId="1430462515" sldId="266"/>
        </pc:sldMkLst>
        <pc:spChg chg="add mod">
          <ac:chgData name="Hammad, Leila" userId="e0060735-4e0b-46c7-a6c3-c0cf6b3fb745" providerId="ADAL" clId="{A677F243-6952-4A7F-97F5-9B25D025D019}" dt="2024-04-08T13:12:19.188" v="19" actId="2711"/>
          <ac:spMkLst>
            <pc:docMk/>
            <pc:sldMk cId="1430462515" sldId="266"/>
            <ac:spMk id="2" creationId="{451030EA-8B76-9E92-8AC7-CDD37A44895A}"/>
          </ac:spMkLst>
        </pc:spChg>
      </pc:sldChg>
      <pc:sldMasterChg chg="addSp delSp modSp mod">
        <pc:chgData name="Hammad, Leila" userId="e0060735-4e0b-46c7-a6c3-c0cf6b3fb745" providerId="ADAL" clId="{A677F243-6952-4A7F-97F5-9B25D025D019}" dt="2024-04-08T13:12:02.655" v="15" actId="1036"/>
        <pc:sldMasterMkLst>
          <pc:docMk/>
          <pc:sldMasterMk cId="1386213227" sldId="2147483720"/>
        </pc:sldMasterMkLst>
        <pc:spChg chg="add del">
          <ac:chgData name="Hammad, Leila" userId="e0060735-4e0b-46c7-a6c3-c0cf6b3fb745" providerId="ADAL" clId="{A677F243-6952-4A7F-97F5-9B25D025D019}" dt="2024-04-08T13:11:22.555" v="1" actId="22"/>
          <ac:spMkLst>
            <pc:docMk/>
            <pc:sldMasterMk cId="1386213227" sldId="2147483720"/>
            <ac:spMk id="4" creationId="{0BCC7595-440E-65C6-19E9-F60AE77C84FA}"/>
          </ac:spMkLst>
        </pc:spChg>
        <pc:spChg chg="add mod">
          <ac:chgData name="Hammad, Leila" userId="e0060735-4e0b-46c7-a6c3-c0cf6b3fb745" providerId="ADAL" clId="{A677F243-6952-4A7F-97F5-9B25D025D019}" dt="2024-04-08T13:12:02.655" v="15" actId="1036"/>
          <ac:spMkLst>
            <pc:docMk/>
            <pc:sldMasterMk cId="1386213227" sldId="2147483720"/>
            <ac:spMk id="5" creationId="{0F2370E3-B8A5-6B31-CD6B-0E33DF1ACD16}"/>
          </ac:spMkLst>
        </pc:spChg>
      </pc:sldMasterChg>
    </pc:docChg>
  </pc:docChgLst>
  <pc:docChgLst>
    <pc:chgData name="Hammad, Leila" userId="e0060735-4e0b-46c7-a6c3-c0cf6b3fb745" providerId="ADAL" clId="{C372EB4E-FF57-4A4B-A48B-AD1FB33BD8C6}"/>
    <pc:docChg chg="undo custSel modSld modMainMaster">
      <pc:chgData name="Hammad, Leila" userId="e0060735-4e0b-46c7-a6c3-c0cf6b3fb745" providerId="ADAL" clId="{C372EB4E-FF57-4A4B-A48B-AD1FB33BD8C6}" dt="2024-01-16T13:18:22.731" v="249" actId="6549"/>
      <pc:docMkLst>
        <pc:docMk/>
      </pc:docMkLst>
      <pc:sldChg chg="addSp delSp modSp mod">
        <pc:chgData name="Hammad, Leila" userId="e0060735-4e0b-46c7-a6c3-c0cf6b3fb745" providerId="ADAL" clId="{C372EB4E-FF57-4A4B-A48B-AD1FB33BD8C6}" dt="2024-01-16T13:17:54.936" v="244" actId="20577"/>
        <pc:sldMkLst>
          <pc:docMk/>
          <pc:sldMk cId="1430462515" sldId="266"/>
        </pc:sldMkLst>
        <pc:spChg chg="add mod">
          <ac:chgData name="Hammad, Leila" userId="e0060735-4e0b-46c7-a6c3-c0cf6b3fb745" providerId="ADAL" clId="{C372EB4E-FF57-4A4B-A48B-AD1FB33BD8C6}" dt="2024-01-16T13:14:08.548" v="109" actId="1076"/>
          <ac:spMkLst>
            <pc:docMk/>
            <pc:sldMk cId="1430462515" sldId="266"/>
            <ac:spMk id="2" creationId="{BC400C14-ACDE-33D2-711C-1307DD851FF7}"/>
          </ac:spMkLst>
        </pc:spChg>
        <pc:spChg chg="mod">
          <ac:chgData name="Hammad, Leila" userId="e0060735-4e0b-46c7-a6c3-c0cf6b3fb745" providerId="ADAL" clId="{C372EB4E-FF57-4A4B-A48B-AD1FB33BD8C6}" dt="2024-01-16T13:17:54.936" v="244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C372EB4E-FF57-4A4B-A48B-AD1FB33BD8C6}" dt="2024-01-16T13:11:24.640" v="80"/>
          <ac:spMkLst>
            <pc:docMk/>
            <pc:sldMk cId="1430462515" sldId="266"/>
            <ac:spMk id="5" creationId="{9E30A2DA-169F-402D-BAD7-2729E2BFA514}"/>
          </ac:spMkLst>
        </pc:spChg>
        <pc:spChg chg="del">
          <ac:chgData name="Hammad, Leila" userId="e0060735-4e0b-46c7-a6c3-c0cf6b3fb745" providerId="ADAL" clId="{C372EB4E-FF57-4A4B-A48B-AD1FB33BD8C6}" dt="2024-01-16T13:08:40.064" v="10" actId="21"/>
          <ac:spMkLst>
            <pc:docMk/>
            <pc:sldMk cId="1430462515" sldId="266"/>
            <ac:spMk id="6" creationId="{490ACC0D-4708-49F8-89F6-0D0135133B48}"/>
          </ac:spMkLst>
        </pc:spChg>
        <pc:spChg chg="add mod">
          <ac:chgData name="Hammad, Leila" userId="e0060735-4e0b-46c7-a6c3-c0cf6b3fb745" providerId="ADAL" clId="{C372EB4E-FF57-4A4B-A48B-AD1FB33BD8C6}" dt="2024-01-16T13:17:03.829" v="234" actId="403"/>
          <ac:spMkLst>
            <pc:docMk/>
            <pc:sldMk cId="1430462515" sldId="266"/>
            <ac:spMk id="8" creationId="{E634C97A-B6E0-9A9D-DEEF-E74604535954}"/>
          </ac:spMkLst>
        </pc:spChg>
      </pc:sldChg>
      <pc:sldMasterChg chg="addSp delSp modSp mod modSldLayout">
        <pc:chgData name="Hammad, Leila" userId="e0060735-4e0b-46c7-a6c3-c0cf6b3fb745" providerId="ADAL" clId="{C372EB4E-FF57-4A4B-A48B-AD1FB33BD8C6}" dt="2024-01-16T13:18:22.731" v="249" actId="6549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C372EB4E-FF57-4A4B-A48B-AD1FB33BD8C6}" dt="2024-01-16T13:14:23.900" v="110" actId="21"/>
          <ac:spMkLst>
            <pc:docMk/>
            <pc:sldMasterMk cId="1386213227" sldId="2147483720"/>
            <ac:spMk id="2" creationId="{DEBDD388-C595-E6A1-03B0-925AA8462F03}"/>
          </ac:spMkLst>
        </pc:spChg>
        <pc:spChg chg="add del mod">
          <ac:chgData name="Hammad, Leila" userId="e0060735-4e0b-46c7-a6c3-c0cf6b3fb745" providerId="ADAL" clId="{C372EB4E-FF57-4A4B-A48B-AD1FB33BD8C6}" dt="2024-01-16T13:09:27.897" v="22"/>
          <ac:spMkLst>
            <pc:docMk/>
            <pc:sldMasterMk cId="1386213227" sldId="2147483720"/>
            <ac:spMk id="3" creationId="{3778AB4A-5E12-8654-51CD-0F5A15150B84}"/>
          </ac:spMkLst>
        </pc:spChg>
        <pc:spChg chg="add del mod">
          <ac:chgData name="Hammad, Leila" userId="e0060735-4e0b-46c7-a6c3-c0cf6b3fb745" providerId="ADAL" clId="{C372EB4E-FF57-4A4B-A48B-AD1FB33BD8C6}" dt="2024-01-16T13:12:58.858" v="86" actId="21"/>
          <ac:spMkLst>
            <pc:docMk/>
            <pc:sldMasterMk cId="1386213227" sldId="2147483720"/>
            <ac:spMk id="4" creationId="{AC50C7E6-8B51-F0D1-2028-2E731907BABA}"/>
          </ac:spMkLst>
        </pc:spChg>
        <pc:spChg chg="add mod">
          <ac:chgData name="Hammad, Leila" userId="e0060735-4e0b-46c7-a6c3-c0cf6b3fb745" providerId="ADAL" clId="{C372EB4E-FF57-4A4B-A48B-AD1FB33BD8C6}" dt="2024-01-16T13:13:34.173" v="105" actId="2711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C372EB4E-FF57-4A4B-A48B-AD1FB33BD8C6}" dt="2024-01-16T13:18:22.731" v="249" actId="6549"/>
          <ac:spMkLst>
            <pc:docMk/>
            <pc:sldMasterMk cId="1386213227" sldId="2147483720"/>
            <ac:spMk id="11" creationId="{719D3FB4-6A06-40A4-95A8-330F0EC72828}"/>
          </ac:spMkLst>
        </pc:spChg>
        <pc:sldLayoutChg chg="addSp delSp modSp mod">
          <pc:chgData name="Hammad, Leila" userId="e0060735-4e0b-46c7-a6c3-c0cf6b3fb745" providerId="ADAL" clId="{C372EB4E-FF57-4A4B-A48B-AD1FB33BD8C6}" dt="2024-01-16T13:14:48.148" v="111" actId="6549"/>
          <pc:sldLayoutMkLst>
            <pc:docMk/>
            <pc:sldMasterMk cId="1386213227" sldId="2147483720"/>
            <pc:sldLayoutMk cId="2310647922" sldId="2147483722"/>
          </pc:sldLayoutMkLst>
          <pc:spChg chg="add mod">
            <ac:chgData name="Hammad, Leila" userId="e0060735-4e0b-46c7-a6c3-c0cf6b3fb745" providerId="ADAL" clId="{C372EB4E-FF57-4A4B-A48B-AD1FB33BD8C6}" dt="2024-01-16T13:14:48.148" v="111" actId="6549"/>
            <ac:spMkLst>
              <pc:docMk/>
              <pc:sldMasterMk cId="1386213227" sldId="2147483720"/>
              <pc:sldLayoutMk cId="2310647922" sldId="2147483722"/>
              <ac:spMk id="2" creationId="{A09041DB-7D6A-92B6-34A6-74A7243EACDC}"/>
            </ac:spMkLst>
          </pc:spChg>
          <pc:spChg chg="add del">
            <ac:chgData name="Hammad, Leila" userId="e0060735-4e0b-46c7-a6c3-c0cf6b3fb745" providerId="ADAL" clId="{C372EB4E-FF57-4A4B-A48B-AD1FB33BD8C6}" dt="2024-01-16T13:11:56.980" v="82" actId="22"/>
            <ac:spMkLst>
              <pc:docMk/>
              <pc:sldMasterMk cId="1386213227" sldId="2147483720"/>
              <pc:sldLayoutMk cId="2310647922" sldId="2147483722"/>
              <ac:spMk id="4" creationId="{96DE70F5-15CE-34C2-7458-DD6798897BFD}"/>
            </ac:spMkLst>
          </pc:spChg>
        </pc:sldLayoutChg>
      </pc:sldMasterChg>
    </pc:docChg>
  </pc:docChgLst>
  <pc:docChgLst>
    <pc:chgData name="Hammad, Leila" userId="e0060735-4e0b-46c7-a6c3-c0cf6b3fb745" providerId="ADAL" clId="{7A68FB1D-A78C-4BB6-81B3-936FCA8146EA}"/>
    <pc:docChg chg="undo custSel modSld modMainMaster">
      <pc:chgData name="Hammad, Leila" userId="e0060735-4e0b-46c7-a6c3-c0cf6b3fb745" providerId="ADAL" clId="{7A68FB1D-A78C-4BB6-81B3-936FCA8146EA}" dt="2024-03-06T08:46:43.250" v="62" actId="478"/>
      <pc:docMkLst>
        <pc:docMk/>
      </pc:docMkLst>
      <pc:sldChg chg="addSp delSp modSp mod">
        <pc:chgData name="Hammad, Leila" userId="e0060735-4e0b-46c7-a6c3-c0cf6b3fb745" providerId="ADAL" clId="{7A68FB1D-A78C-4BB6-81B3-936FCA8146EA}" dt="2024-03-06T08:46:20.029" v="60" actId="478"/>
        <pc:sldMkLst>
          <pc:docMk/>
          <pc:sldMk cId="1430462515" sldId="266"/>
        </pc:sldMkLst>
        <pc:spChg chg="del">
          <ac:chgData name="Hammad, Leila" userId="e0060735-4e0b-46c7-a6c3-c0cf6b3fb745" providerId="ADAL" clId="{7A68FB1D-A78C-4BB6-81B3-936FCA8146EA}" dt="2024-03-06T08:46:17.362" v="58" actId="478"/>
          <ac:spMkLst>
            <pc:docMk/>
            <pc:sldMk cId="1430462515" sldId="266"/>
            <ac:spMk id="2" creationId="{BC400C14-ACDE-33D2-711C-1307DD851FF7}"/>
          </ac:spMkLst>
        </pc:spChg>
        <pc:spChg chg="add del">
          <ac:chgData name="Hammad, Leila" userId="e0060735-4e0b-46c7-a6c3-c0cf6b3fb745" providerId="ADAL" clId="{7A68FB1D-A78C-4BB6-81B3-936FCA8146EA}" dt="2024-03-06T08:46:20.029" v="60" actId="478"/>
          <ac:spMkLst>
            <pc:docMk/>
            <pc:sldMk cId="1430462515" sldId="266"/>
            <ac:spMk id="5" creationId="{9E30A2DA-169F-402D-BAD7-2729E2BFA514}"/>
          </ac:spMkLst>
        </pc:spChg>
        <pc:spChg chg="mod">
          <ac:chgData name="Hammad, Leila" userId="e0060735-4e0b-46c7-a6c3-c0cf6b3fb745" providerId="ADAL" clId="{7A68FB1D-A78C-4BB6-81B3-936FCA8146EA}" dt="2024-03-06T08:43:52.909" v="57" actId="20577"/>
          <ac:spMkLst>
            <pc:docMk/>
            <pc:sldMk cId="1430462515" sldId="266"/>
            <ac:spMk id="7" creationId="{00000000-0000-0000-0000-000000000000}"/>
          </ac:spMkLst>
        </pc:spChg>
      </pc:sldChg>
      <pc:sldMasterChg chg="addSp delSp modSp mod modSldLayout">
        <pc:chgData name="Hammad, Leila" userId="e0060735-4e0b-46c7-a6c3-c0cf6b3fb745" providerId="ADAL" clId="{7A68FB1D-A78C-4BB6-81B3-936FCA8146EA}" dt="2024-03-06T08:46:43.250" v="62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7A68FB1D-A78C-4BB6-81B3-936FCA8146EA}" dt="2024-03-06T08:46:43.250" v="62" actId="478"/>
          <ac:spMkLst>
            <pc:docMk/>
            <pc:sldMasterMk cId="1386213227" sldId="2147483720"/>
            <ac:spMk id="4" creationId="{AC50C7E6-8B51-F0D1-2028-2E731907BABA}"/>
          </ac:spMkLst>
        </pc:spChg>
        <pc:spChg chg="del">
          <ac:chgData name="Hammad, Leila" userId="e0060735-4e0b-46c7-a6c3-c0cf6b3fb745" providerId="ADAL" clId="{7A68FB1D-A78C-4BB6-81B3-936FCA8146EA}" dt="2024-03-06T08:46:41.772" v="61" actId="478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7A68FB1D-A78C-4BB6-81B3-936FCA8146EA}" dt="2024-02-27T13:25:18.489" v="4" actId="108"/>
          <ac:spMkLst>
            <pc:docMk/>
            <pc:sldMasterMk cId="1386213227" sldId="2147483720"/>
            <ac:spMk id="11" creationId="{719D3FB4-6A06-40A4-95A8-330F0EC72828}"/>
          </ac:spMkLst>
        </pc:spChg>
        <pc:spChg chg="add mod">
          <ac:chgData name="Hammad, Leila" userId="e0060735-4e0b-46c7-a6c3-c0cf6b3fb745" providerId="ADAL" clId="{7A68FB1D-A78C-4BB6-81B3-936FCA8146EA}" dt="2024-03-06T08:43:05.288" v="54"/>
          <ac:spMkLst>
            <pc:docMk/>
            <pc:sldMasterMk cId="1386213227" sldId="2147483720"/>
            <ac:spMk id="14" creationId="{E465FAAF-EA98-9715-F685-7E9B33C40FD2}"/>
          </ac:spMkLst>
        </pc:spChg>
        <pc:picChg chg="add del mod modCrop">
          <ac:chgData name="Hammad, Leila" userId="e0060735-4e0b-46c7-a6c3-c0cf6b3fb745" providerId="ADAL" clId="{7A68FB1D-A78C-4BB6-81B3-936FCA8146EA}" dt="2024-03-06T08:41:30.706" v="7" actId="478"/>
          <ac:picMkLst>
            <pc:docMk/>
            <pc:sldMasterMk cId="1386213227" sldId="2147483720"/>
            <ac:picMk id="6" creationId="{252A1DAA-8A22-6F6D-A47E-91404CBD2C1F}"/>
          </ac:picMkLst>
        </pc:picChg>
        <pc:picChg chg="add mod">
          <ac:chgData name="Hammad, Leila" userId="e0060735-4e0b-46c7-a6c3-c0cf6b3fb745" providerId="ADAL" clId="{7A68FB1D-A78C-4BB6-81B3-936FCA8146EA}" dt="2024-03-06T08:42:00.833" v="16" actId="1076"/>
          <ac:picMkLst>
            <pc:docMk/>
            <pc:sldMasterMk cId="1386213227" sldId="2147483720"/>
            <ac:picMk id="13" creationId="{8DD75B81-0F99-D11D-AD67-14861593A93E}"/>
          </ac:picMkLst>
        </pc:picChg>
        <pc:sldLayoutChg chg="addSp delSp modSp mod">
          <pc:chgData name="Hammad, Leila" userId="e0060735-4e0b-46c7-a6c3-c0cf6b3fb745" providerId="ADAL" clId="{7A68FB1D-A78C-4BB6-81B3-936FCA8146EA}" dt="2024-03-06T08:42:57.896" v="53" actId="21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7A68FB1D-A78C-4BB6-81B3-936FCA8146EA}" dt="2024-03-06T08:42:57.896" v="53" actId="21"/>
            <ac:spMkLst>
              <pc:docMk/>
              <pc:sldMasterMk cId="1386213227" sldId="2147483720"/>
              <pc:sldLayoutMk cId="2310647922" sldId="2147483722"/>
              <ac:spMk id="3" creationId="{E00F6C8C-CF90-431C-5C7A-6AC68176E7A7}"/>
            </ac:spMkLst>
          </pc:spChg>
        </pc:sldLayoutChg>
      </pc:sldMasterChg>
    </pc:docChg>
  </pc:docChgLst>
  <pc:docChgLst>
    <pc:chgData name="Hammad, Leila" userId="e0060735-4e0b-46c7-a6c3-c0cf6b3fb745" providerId="ADAL" clId="{9DB61BEF-CA73-41F9-BA09-9DDA52417BBF}"/>
    <pc:docChg chg="modSld">
      <pc:chgData name="Hammad, Leila" userId="e0060735-4e0b-46c7-a6c3-c0cf6b3fb745" providerId="ADAL" clId="{9DB61BEF-CA73-41F9-BA09-9DDA52417BBF}" dt="2025-02-18T10:58:28.758" v="40" actId="13926"/>
      <pc:docMkLst>
        <pc:docMk/>
      </pc:docMkLst>
      <pc:sldChg chg="modSp mod">
        <pc:chgData name="Hammad, Leila" userId="e0060735-4e0b-46c7-a6c3-c0cf6b3fb745" providerId="ADAL" clId="{9DB61BEF-CA73-41F9-BA09-9DDA52417BBF}" dt="2025-02-18T10:58:28.758" v="40" actId="13926"/>
        <pc:sldMkLst>
          <pc:docMk/>
          <pc:sldMk cId="1430462515" sldId="266"/>
        </pc:sldMkLst>
        <pc:spChg chg="mod">
          <ac:chgData name="Hammad, Leila" userId="e0060735-4e0b-46c7-a6c3-c0cf6b3fb745" providerId="ADAL" clId="{9DB61BEF-CA73-41F9-BA09-9DDA52417BBF}" dt="2025-02-18T10:57:56.669" v="0" actId="13926"/>
          <ac:spMkLst>
            <pc:docMk/>
            <pc:sldMk cId="1430462515" sldId="266"/>
            <ac:spMk id="2" creationId="{451030EA-8B76-9E92-8AC7-CDD37A44895A}"/>
          </ac:spMkLst>
        </pc:spChg>
        <pc:spChg chg="mod">
          <ac:chgData name="Hammad, Leila" userId="e0060735-4e0b-46c7-a6c3-c0cf6b3fb745" providerId="ADAL" clId="{9DB61BEF-CA73-41F9-BA09-9DDA52417BBF}" dt="2025-02-18T10:58:28.758" v="40" actId="13926"/>
          <ac:spMkLst>
            <pc:docMk/>
            <pc:sldMk cId="1430462515" sldId="266"/>
            <ac:spMk id="8" creationId="{E634C97A-B6E0-9A9D-DEEF-E74604535954}"/>
          </ac:spMkLst>
        </pc:spChg>
      </pc:sldChg>
    </pc:docChg>
  </pc:docChgLst>
  <pc:docChgLst>
    <pc:chgData name="Hammad, Leila" userId="e0060735-4e0b-46c7-a6c3-c0cf6b3fb745" providerId="ADAL" clId="{B56B2570-7E3C-46F7-A037-AE4EB1F466F6}"/>
    <pc:docChg chg="modSld modMainMaster">
      <pc:chgData name="Hammad, Leila" userId="e0060735-4e0b-46c7-a6c3-c0cf6b3fb745" providerId="ADAL" clId="{B56B2570-7E3C-46F7-A037-AE4EB1F466F6}" dt="2024-12-02T12:26:14.965" v="44" actId="1037"/>
      <pc:docMkLst>
        <pc:docMk/>
      </pc:docMkLst>
      <pc:sldChg chg="modSp mod">
        <pc:chgData name="Hammad, Leila" userId="e0060735-4e0b-46c7-a6c3-c0cf6b3fb745" providerId="ADAL" clId="{B56B2570-7E3C-46F7-A037-AE4EB1F466F6}" dt="2024-12-02T12:20:53.046" v="3" actId="20577"/>
        <pc:sldMkLst>
          <pc:docMk/>
          <pc:sldMk cId="1430462515" sldId="266"/>
        </pc:sldMkLst>
        <pc:spChg chg="mod">
          <ac:chgData name="Hammad, Leila" userId="e0060735-4e0b-46c7-a6c3-c0cf6b3fb745" providerId="ADAL" clId="{B56B2570-7E3C-46F7-A037-AE4EB1F466F6}" dt="2024-12-02T12:20:53.046" v="3" actId="20577"/>
          <ac:spMkLst>
            <pc:docMk/>
            <pc:sldMk cId="1430462515" sldId="266"/>
            <ac:spMk id="8" creationId="{E634C97A-B6E0-9A9D-DEEF-E74604535954}"/>
          </ac:spMkLst>
        </pc:spChg>
      </pc:sldChg>
      <pc:sldMasterChg chg="addSp modSp mod modSldLayout">
        <pc:chgData name="Hammad, Leila" userId="e0060735-4e0b-46c7-a6c3-c0cf6b3fb745" providerId="ADAL" clId="{B56B2570-7E3C-46F7-A037-AE4EB1F466F6}" dt="2024-12-02T12:26:14.965" v="44" actId="1037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B56B2570-7E3C-46F7-A037-AE4EB1F466F6}" dt="2024-12-02T12:23:09.453" v="26"/>
          <ac:spMkLst>
            <pc:docMk/>
            <pc:sldMasterMk cId="1386213227" sldId="2147483720"/>
            <ac:spMk id="4" creationId="{B74D061D-B36C-8DD2-8E93-27077D1C5EE8}"/>
          </ac:spMkLst>
        </pc:spChg>
        <pc:spChg chg="add mod">
          <ac:chgData name="Hammad, Leila" userId="e0060735-4e0b-46c7-a6c3-c0cf6b3fb745" providerId="ADAL" clId="{B56B2570-7E3C-46F7-A037-AE4EB1F466F6}" dt="2024-12-02T12:23:22.441" v="30" actId="20577"/>
          <ac:spMkLst>
            <pc:docMk/>
            <pc:sldMasterMk cId="1386213227" sldId="2147483720"/>
            <ac:spMk id="8" creationId="{6047D1F9-06B9-2913-12D7-1CB25AE1C14B}"/>
          </ac:spMkLst>
        </pc:spChg>
        <pc:spChg chg="mod">
          <ac:chgData name="Hammad, Leila" userId="e0060735-4e0b-46c7-a6c3-c0cf6b3fb745" providerId="ADAL" clId="{B56B2570-7E3C-46F7-A037-AE4EB1F466F6}" dt="2024-12-02T12:21:16.132" v="24" actId="20577"/>
          <ac:spMkLst>
            <pc:docMk/>
            <pc:sldMasterMk cId="1386213227" sldId="2147483720"/>
            <ac:spMk id="11" creationId="{719D3FB4-6A06-40A4-95A8-330F0EC72828}"/>
          </ac:spMkLst>
        </pc:spChg>
        <pc:picChg chg="add mod">
          <ac:chgData name="Hammad, Leila" userId="e0060735-4e0b-46c7-a6c3-c0cf6b3fb745" providerId="ADAL" clId="{B56B2570-7E3C-46F7-A037-AE4EB1F466F6}" dt="2024-12-02T12:23:09.453" v="26"/>
          <ac:picMkLst>
            <pc:docMk/>
            <pc:sldMasterMk cId="1386213227" sldId="2147483720"/>
            <ac:picMk id="3" creationId="{E36A2CB6-0EB8-C889-3256-C016A037A4B5}"/>
          </ac:picMkLst>
        </pc:picChg>
        <pc:picChg chg="add mod modCrop">
          <ac:chgData name="Hammad, Leila" userId="e0060735-4e0b-46c7-a6c3-c0cf6b3fb745" providerId="ADAL" clId="{B56B2570-7E3C-46F7-A037-AE4EB1F466F6}" dt="2024-12-02T12:26:14.965" v="44" actId="1037"/>
          <ac:picMkLst>
            <pc:docMk/>
            <pc:sldMasterMk cId="1386213227" sldId="2147483720"/>
            <ac:picMk id="6" creationId="{7ACFF744-4A43-481F-B128-A48B7255F90A}"/>
          </ac:picMkLst>
        </pc:picChg>
        <pc:sldLayoutChg chg="addSp modSp">
          <pc:chgData name="Hammad, Leila" userId="e0060735-4e0b-46c7-a6c3-c0cf6b3fb745" providerId="ADAL" clId="{B56B2570-7E3C-46F7-A037-AE4EB1F466F6}" dt="2024-12-02T12:23:06.415" v="25"/>
          <pc:sldLayoutMkLst>
            <pc:docMk/>
            <pc:sldMasterMk cId="1386213227" sldId="2147483720"/>
            <pc:sldLayoutMk cId="2310647922" sldId="2147483722"/>
          </pc:sldLayoutMkLst>
          <pc:spChg chg="add mod">
            <ac:chgData name="Hammad, Leila" userId="e0060735-4e0b-46c7-a6c3-c0cf6b3fb745" providerId="ADAL" clId="{B56B2570-7E3C-46F7-A037-AE4EB1F466F6}" dt="2024-12-02T12:23:06.415" v="25"/>
            <ac:spMkLst>
              <pc:docMk/>
              <pc:sldMasterMk cId="1386213227" sldId="2147483720"/>
              <pc:sldLayoutMk cId="2310647922" sldId="2147483722"/>
              <ac:spMk id="4" creationId="{ACE9B632-E469-5261-6728-99679C520B43}"/>
            </ac:spMkLst>
          </pc:spChg>
          <pc:picChg chg="add mod">
            <ac:chgData name="Hammad, Leila" userId="e0060735-4e0b-46c7-a6c3-c0cf6b3fb745" providerId="ADAL" clId="{B56B2570-7E3C-46F7-A037-AE4EB1F466F6}" dt="2024-12-02T12:23:06.415" v="25"/>
            <ac:picMkLst>
              <pc:docMk/>
              <pc:sldMasterMk cId="1386213227" sldId="2147483720"/>
              <pc:sldLayoutMk cId="2310647922" sldId="2147483722"/>
              <ac:picMk id="3" creationId="{492F5518-0867-1060-9FD7-069D229A34C0}"/>
            </ac:picMkLst>
          </pc:picChg>
        </pc:sldLayoutChg>
      </pc:sldMasterChg>
    </pc:docChg>
  </pc:docChgLst>
  <pc:docChgLst>
    <pc:chgData name="Hammad, Leila" userId="e0060735-4e0b-46c7-a6c3-c0cf6b3fb745" providerId="ADAL" clId="{669805B1-7330-4B57-8641-7DFF7DDA266C}"/>
    <pc:docChg chg="custSel modSld">
      <pc:chgData name="Hammad, Leila" userId="e0060735-4e0b-46c7-a6c3-c0cf6b3fb745" providerId="ADAL" clId="{669805B1-7330-4B57-8641-7DFF7DDA266C}" dt="2022-06-17T06:42:51.824" v="18" actId="20577"/>
      <pc:docMkLst>
        <pc:docMk/>
      </pc:docMkLst>
      <pc:sldChg chg="modSp mod">
        <pc:chgData name="Hammad, Leila" userId="e0060735-4e0b-46c7-a6c3-c0cf6b3fb745" providerId="ADAL" clId="{669805B1-7330-4B57-8641-7DFF7DDA266C}" dt="2022-06-17T06:42:51.824" v="18" actId="20577"/>
        <pc:sldMkLst>
          <pc:docMk/>
          <pc:sldMk cId="1430462515" sldId="266"/>
        </pc:sldMkLst>
        <pc:spChg chg="mod">
          <ac:chgData name="Hammad, Leila" userId="e0060735-4e0b-46c7-a6c3-c0cf6b3fb745" providerId="ADAL" clId="{669805B1-7330-4B57-8641-7DFF7DDA266C}" dt="2022-06-17T06:42:51.824" v="18" actId="20577"/>
          <ac:spMkLst>
            <pc:docMk/>
            <pc:sldMk cId="1430462515" sldId="266"/>
            <ac:spMk id="6" creationId="{490ACC0D-4708-49F8-89F6-0D0135133B4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389DD-E8E9-4B23-804D-6ABA3D18A33B}" type="datetimeFigureOut">
              <a:rPr lang="de-DE" smtClean="0"/>
              <a:t>18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49613" y="1793875"/>
            <a:ext cx="3427412" cy="4845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188" y="6908800"/>
            <a:ext cx="7942262" cy="56530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925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A900E0-178E-499A-8C02-C2254F0E2C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264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9041DB-7D6A-92B6-34A6-74A7243EACDC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</p:spTree>
    <p:extLst>
      <p:ext uri="{BB962C8B-B14F-4D97-AF65-F5344CB8AC3E}">
        <p14:creationId xmlns:p14="http://schemas.microsoft.com/office/powerpoint/2010/main" val="2310647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B75E28C-705F-42B3-BF0E-F159316B1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6042523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B75E28C-705F-42B3-BF0E-F159316B1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Fotografieren Verboten - Illustrationen und Vektorgrafiken - iStock">
            <a:extLst>
              <a:ext uri="{FF2B5EF4-FFF2-40B4-BE49-F238E27FC236}">
                <a16:creationId xmlns:a16="http://schemas.microsoft.com/office/drawing/2014/main" id="{6C174EBE-0578-43C9-BBDF-4F26EACBC8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0764" y="1139234"/>
            <a:ext cx="252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9098C4-BF45-43DF-817D-D05F0D325C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9270" y="37702121"/>
            <a:ext cx="3602743" cy="396240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19D3FB4-6A06-40A4-95A8-330F0EC72828}"/>
              </a:ext>
            </a:extLst>
          </p:cNvPr>
          <p:cNvSpPr txBox="1"/>
          <p:nvPr userDrawn="1"/>
        </p:nvSpPr>
        <p:spPr>
          <a:xfrm>
            <a:off x="1473200" y="38294679"/>
            <a:ext cx="18332883" cy="31808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ZEISS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NNOVATION </a:t>
            </a:r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SUMMIT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2025</a:t>
            </a:r>
          </a:p>
          <a:p>
            <a:pPr>
              <a:spcAft>
                <a:spcPts val="1200"/>
              </a:spcAft>
            </a:pPr>
            <a:r>
              <a:rPr lang="en-US" sz="64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Human at the center</a:t>
            </a:r>
          </a:p>
          <a:p>
            <a:r>
              <a:rPr lang="en-US" sz="5000" b="1" dirty="0">
                <a:solidFill>
                  <a:srgbClr val="008BD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www.zeiss.com/innovation-summit</a:t>
            </a:r>
          </a:p>
        </p:txBody>
      </p:sp>
      <p:sp>
        <p:nvSpPr>
          <p:cNvPr id="12" name="Rechteck 3">
            <a:extLst>
              <a:ext uri="{FF2B5EF4-FFF2-40B4-BE49-F238E27FC236}">
                <a16:creationId xmlns:a16="http://schemas.microsoft.com/office/drawing/2014/main" id="{E1AD6C77-8AE3-4851-B554-C1E4C63404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3200" y="5588000"/>
            <a:ext cx="27368500" cy="3139599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3299" tIns="393299" rIns="196649" bIns="39329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de-DE" altLang="de-DE" sz="5244" dirty="0">
              <a:solidFill>
                <a:srgbClr val="000000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EBDD388-C595-E6A1-03B0-925AA8462F03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F2370E3-B8A5-6B31-CD6B-0E33DF1ACD16}"/>
              </a:ext>
            </a:extLst>
          </p:cNvPr>
          <p:cNvSpPr txBox="1"/>
          <p:nvPr userDrawn="1"/>
        </p:nvSpPr>
        <p:spPr>
          <a:xfrm>
            <a:off x="1473200" y="4864100"/>
            <a:ext cx="4320000" cy="720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ACFF744-4A43-481F-B128-A48B7255F90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10" t="36868" r="25617" b="14779"/>
          <a:stretch/>
        </p:blipFill>
        <p:spPr>
          <a:xfrm>
            <a:off x="26712143" y="34856151"/>
            <a:ext cx="2044150" cy="203070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047D1F9-06B9-2913-12D7-1CB25AE1C14B}"/>
              </a:ext>
            </a:extLst>
          </p:cNvPr>
          <p:cNvSpPr txBox="1"/>
          <p:nvPr userDrawn="1"/>
        </p:nvSpPr>
        <p:spPr>
          <a:xfrm>
            <a:off x="26688546" y="34564320"/>
            <a:ext cx="20441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Vote for Best Lab Award</a:t>
            </a:r>
          </a:p>
        </p:txBody>
      </p:sp>
    </p:spTree>
    <p:extLst>
      <p:ext uri="{BB962C8B-B14F-4D97-AF65-F5344CB8AC3E}">
        <p14:creationId xmlns:p14="http://schemas.microsoft.com/office/powerpoint/2010/main" val="138621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1509713" y="1105400"/>
            <a:ext cx="16483600" cy="2958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Title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f</a:t>
            </a: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bmission</a:t>
            </a:r>
            <a:endParaRPr lang="de-DE" altLang="de-DE" sz="8740" b="1" dirty="0">
              <a:latin typeface="ZEISS Frutiger Next W1G Heavy" panose="020B0903040204020203" pitchFamily="34" charset="0"/>
              <a:cs typeface="ZEISS Frutiger Next W1G Heavy" panose="020B0903040204020203" pitchFamily="34" charset="0"/>
            </a:endParaRPr>
          </a:p>
          <a:p>
            <a:pPr>
              <a:spcBef>
                <a:spcPct val="50000"/>
              </a:spcBef>
            </a:pP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am </a:t>
            </a:r>
            <a:r>
              <a:rPr lang="de-DE" altLang="de-DE" sz="6555" dirty="0" err="1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members</a:t>
            </a: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 Name + SBU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AD2EE2-716B-4535-9986-A50C5938D741}"/>
              </a:ext>
            </a:extLst>
          </p:cNvPr>
          <p:cNvSpPr txBox="1"/>
          <p:nvPr/>
        </p:nvSpPr>
        <p:spPr>
          <a:xfrm>
            <a:off x="27446838" y="37015708"/>
            <a:ext cx="14911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V1.1 012024</a:t>
            </a:r>
            <a:endParaRPr lang="en-US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30A2DA-169F-402D-BAD7-2729E2BFA514}"/>
              </a:ext>
            </a:extLst>
          </p:cNvPr>
          <p:cNvSpPr txBox="1"/>
          <p:nvPr/>
        </p:nvSpPr>
        <p:spPr>
          <a:xfrm>
            <a:off x="1509713" y="5588000"/>
            <a:ext cx="27360000" cy="31427708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Autofit/>
          </a:bodyPr>
          <a:lstStyle/>
          <a:p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Description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of</a:t>
            </a:r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project</a:t>
            </a:r>
            <a:endParaRPr lang="de-DE" altLang="de-DE" sz="4800" b="1" dirty="0">
              <a:solidFill>
                <a:srgbClr val="000000"/>
              </a:solidFill>
              <a:latin typeface="ZEISS Frutiger Next W1G" panose="020B0503040204020203" pitchFamily="34" charset="0"/>
              <a:cs typeface="ZEISS Frutiger Next W1G" panose="020B0503040204020203" pitchFamily="34" charset="0"/>
            </a:endParaRPr>
          </a:p>
          <a:p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iec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f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advic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English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nly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Writ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you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xt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hort and sweet, but clea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legal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mag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and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diagrams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ubdivision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(e. g. in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ingl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box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econd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,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leas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use the available space in the box here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endParaRPr lang="en-US" sz="4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634C97A-B6E0-9A9D-DEEF-E74604535954}"/>
              </a:ext>
            </a:extLst>
          </p:cNvPr>
          <p:cNvSpPr txBox="1"/>
          <p:nvPr/>
        </p:nvSpPr>
        <p:spPr>
          <a:xfrm>
            <a:off x="26656283" y="2456477"/>
            <a:ext cx="2191692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lease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your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ubmission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de-DE" altLang="de-DE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ere</a:t>
            </a:r>
            <a:endParaRPr lang="de-DE" altLang="de-DE" sz="16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1030EA-8B76-9E92-8AC7-CDD37A44895A}"/>
              </a:ext>
            </a:extLst>
          </p:cNvPr>
          <p:cNvSpPr txBox="1"/>
          <p:nvPr/>
        </p:nvSpPr>
        <p:spPr>
          <a:xfrm>
            <a:off x="1509713" y="4941669"/>
            <a:ext cx="35076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Please</a:t>
            </a:r>
            <a:r>
              <a:rPr lang="de-DE" sz="1800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enter</a:t>
            </a:r>
            <a:r>
              <a:rPr lang="de-DE" sz="1800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level</a:t>
            </a:r>
            <a:r>
              <a:rPr lang="de-DE" sz="1800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of</a:t>
            </a:r>
            <a:r>
              <a:rPr lang="de-DE" sz="1800" dirty="0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highlight>
                  <a:srgbClr val="FFFF00"/>
                </a:highlight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classification</a:t>
            </a:r>
            <a:endParaRPr lang="de-DE" sz="1800" dirty="0">
              <a:highlight>
                <a:srgbClr val="FFFF00"/>
              </a:highlight>
              <a:latin typeface="ZEISS Frutiger Next W1G Hv Cn" panose="020B0906040204020203" pitchFamily="34" charset="0"/>
              <a:cs typeface="ZEISS Frutiger Next W1G Hv Cn" panose="020B0906040204020203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462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2121713-4935-4c8b-a81e-9e6278b8e60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15CDE94A37B4DAFE16161319155B6" ma:contentTypeVersion="7" ma:contentTypeDescription="Create a new document." ma:contentTypeScope="" ma:versionID="374a5336eb7ee252f6141667510149a4">
  <xsd:schema xmlns:xsd="http://www.w3.org/2001/XMLSchema" xmlns:xs="http://www.w3.org/2001/XMLSchema" xmlns:p="http://schemas.microsoft.com/office/2006/metadata/properties" xmlns:ns2="acda96ba-ab8e-4ba7-8873-b22087d7d977" targetNamespace="http://schemas.microsoft.com/office/2006/metadata/properties" ma:root="true" ma:fieldsID="6037b7623d4b1f66cb90138fb7b1b63a" ns2:_="">
    <xsd:import namespace="acda96ba-ab8e-4ba7-8873-b22087d7d9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da96ba-ab8e-4ba7-8873-b22087d7d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401AE7-4189-47F5-AC8F-6D71C38E45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FF793E-F8A6-48AD-9BD9-E7A240261D8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da96ba-ab8e-4ba7-8873-b22087d7d97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2FA23B4-3BF9-46C2-9BCD-B1C6603328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da96ba-ab8e-4ba7-8873-b22087d7d9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1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Wingdings</vt:lpstr>
      <vt:lpstr>ZEISS Frutiger Next W1G</vt:lpstr>
      <vt:lpstr>ZEISS Frutiger Next W1G Heavy</vt:lpstr>
      <vt:lpstr>ZEISS Frutiger Next W1G Hv Cn</vt:lpstr>
      <vt:lpstr>ZEISS Frutiger Next W1G Light</vt:lpstr>
      <vt:lpstr>Office Theme</vt:lpstr>
      <vt:lpstr>think-cell Folie</vt:lpstr>
      <vt:lpstr>PowerPoint-Präsentation</vt:lpstr>
    </vt:vector>
  </TitlesOfParts>
  <Company>Carl Zeis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legelmilch, Stefanie</dc:creator>
  <cp:lastModifiedBy>Hammad, Leila</cp:lastModifiedBy>
  <cp:revision>186</cp:revision>
  <cp:lastPrinted>2017-08-28T07:00:15Z</cp:lastPrinted>
  <dcterms:created xsi:type="dcterms:W3CDTF">2017-06-09T05:35:51Z</dcterms:created>
  <dcterms:modified xsi:type="dcterms:W3CDTF">2025-02-18T10:5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615CDE94A37B4DAFE16161319155B6</vt:lpwstr>
  </property>
</Properties>
</file>